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3" r:id="rId1"/>
  </p:sldMasterIdLst>
  <p:notesMasterIdLst>
    <p:notesMasterId r:id="rId29"/>
  </p:notesMasterIdLst>
  <p:sldIdLst>
    <p:sldId id="318" r:id="rId2"/>
    <p:sldId id="274" r:id="rId3"/>
    <p:sldId id="275" r:id="rId4"/>
    <p:sldId id="276" r:id="rId5"/>
    <p:sldId id="317" r:id="rId6"/>
    <p:sldId id="316" r:id="rId7"/>
    <p:sldId id="315" r:id="rId8"/>
    <p:sldId id="280" r:id="rId9"/>
    <p:sldId id="281" r:id="rId10"/>
    <p:sldId id="282" r:id="rId11"/>
    <p:sldId id="283" r:id="rId12"/>
    <p:sldId id="285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94" r:id="rId21"/>
    <p:sldId id="295" r:id="rId22"/>
    <p:sldId id="310" r:id="rId23"/>
    <p:sldId id="312" r:id="rId24"/>
    <p:sldId id="313" r:id="rId25"/>
    <p:sldId id="314" r:id="rId26"/>
    <p:sldId id="309" r:id="rId27"/>
    <p:sldId id="272" r:id="rId28"/>
  </p:sldIdLst>
  <p:sldSz cx="9144000" cy="6858000" type="screen4x3"/>
  <p:notesSz cx="6794500" cy="9931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A7E2FF"/>
    <a:srgbClr val="D7D6D0"/>
    <a:srgbClr val="008DC2"/>
    <a:srgbClr val="0092C2"/>
    <a:srgbClr val="008EC3"/>
    <a:srgbClr val="C5DCFF"/>
    <a:srgbClr val="E74D58"/>
    <a:srgbClr val="B8AA92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90" autoAdjust="0"/>
    <p:restoredTop sz="94660"/>
  </p:normalViewPr>
  <p:slideViewPr>
    <p:cSldViewPr snapToGrid="0" snapToObjects="1" showGuides="1">
      <p:cViewPr varScale="1">
        <p:scale>
          <a:sx n="62" d="100"/>
          <a:sy n="62" d="100"/>
        </p:scale>
        <p:origin x="859" y="7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7459FF-4A79-401E-84EF-47F84F0DAC5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F35259E4-FC19-454C-8153-C9DB38C38F6F}">
      <dgm:prSet phldrT="[Text]" custT="1"/>
      <dgm:spPr/>
      <dgm:t>
        <a:bodyPr/>
        <a:lstStyle/>
        <a:p>
          <a:endParaRPr lang="ru-RU" sz="2200" dirty="0" smtClean="0">
            <a:solidFill>
              <a:schemeClr val="bg1"/>
            </a:solidFill>
          </a:endParaRPr>
        </a:p>
        <a:p>
          <a:r>
            <a:rPr lang="ru-RU" sz="1800" dirty="0" smtClean="0">
              <a:solidFill>
                <a:schemeClr val="bg1"/>
              </a:solidFill>
            </a:rPr>
            <a:t>Топ </a:t>
          </a:r>
        </a:p>
        <a:p>
          <a:r>
            <a:rPr lang="ru-RU" sz="1800" dirty="0" smtClean="0">
              <a:solidFill>
                <a:schemeClr val="bg1"/>
              </a:solidFill>
            </a:rPr>
            <a:t>менеджмент</a:t>
          </a:r>
          <a:endParaRPr lang="ru-RU" sz="1800" dirty="0">
            <a:solidFill>
              <a:schemeClr val="bg1"/>
            </a:solidFill>
          </a:endParaRPr>
        </a:p>
      </dgm:t>
    </dgm:pt>
    <dgm:pt modelId="{D4314C89-980A-47AF-AFC5-1E5F1AE8A414}" type="parTrans" cxnId="{130D4F2C-2F1C-4614-AFDC-BA87EA121619}">
      <dgm:prSet/>
      <dgm:spPr/>
      <dgm:t>
        <a:bodyPr/>
        <a:lstStyle/>
        <a:p>
          <a:endParaRPr lang="ru-RU"/>
        </a:p>
      </dgm:t>
    </dgm:pt>
    <dgm:pt modelId="{A46A0DBD-CC40-4E3D-A179-E294229FBBC6}" type="sibTrans" cxnId="{130D4F2C-2F1C-4614-AFDC-BA87EA121619}">
      <dgm:prSet/>
      <dgm:spPr/>
      <dgm:t>
        <a:bodyPr/>
        <a:lstStyle/>
        <a:p>
          <a:endParaRPr lang="ru-RU"/>
        </a:p>
      </dgm:t>
    </dgm:pt>
    <dgm:pt modelId="{82D140D6-4EF8-4233-80FC-08B1D009F592}">
      <dgm:prSet phldrT="[Text]"/>
      <dgm:spPr/>
      <dgm:t>
        <a:bodyPr/>
        <a:lstStyle/>
        <a:p>
          <a:r>
            <a:rPr lang="ru-RU" dirty="0" smtClean="0">
              <a:solidFill>
                <a:schemeClr val="bg1"/>
              </a:solidFill>
            </a:rPr>
            <a:t>Линейные руководители</a:t>
          </a:r>
          <a:endParaRPr lang="ru-RU" dirty="0">
            <a:solidFill>
              <a:schemeClr val="bg1"/>
            </a:solidFill>
          </a:endParaRPr>
        </a:p>
      </dgm:t>
    </dgm:pt>
    <dgm:pt modelId="{1EB681F3-9F55-4CE4-A68E-86FD3086D452}" type="parTrans" cxnId="{38E48A8F-DC70-47BF-BD19-2CBA984EFF51}">
      <dgm:prSet/>
      <dgm:spPr/>
      <dgm:t>
        <a:bodyPr/>
        <a:lstStyle/>
        <a:p>
          <a:endParaRPr lang="ru-RU"/>
        </a:p>
      </dgm:t>
    </dgm:pt>
    <dgm:pt modelId="{69DEE603-456B-43C5-8A95-A6F6CE8FB660}" type="sibTrans" cxnId="{38E48A8F-DC70-47BF-BD19-2CBA984EFF51}">
      <dgm:prSet/>
      <dgm:spPr/>
      <dgm:t>
        <a:bodyPr/>
        <a:lstStyle/>
        <a:p>
          <a:endParaRPr lang="ru-RU"/>
        </a:p>
      </dgm:t>
    </dgm:pt>
    <dgm:pt modelId="{A7BCC0DD-2E7D-4561-924D-2F399E283658}">
      <dgm:prSet phldrT="[Text]" custT="1"/>
      <dgm:spPr/>
      <dgm:t>
        <a:bodyPr/>
        <a:lstStyle/>
        <a:p>
          <a:r>
            <a:rPr lang="ru-RU" sz="4800" dirty="0" smtClean="0">
              <a:solidFill>
                <a:schemeClr val="bg1"/>
              </a:solidFill>
            </a:rPr>
            <a:t>Сотрудники</a:t>
          </a:r>
          <a:endParaRPr lang="ru-RU" sz="4800" dirty="0">
            <a:solidFill>
              <a:schemeClr val="bg1"/>
            </a:solidFill>
          </a:endParaRPr>
        </a:p>
      </dgm:t>
    </dgm:pt>
    <dgm:pt modelId="{C363A969-83D1-4847-B742-5754C3FA4163}" type="parTrans" cxnId="{F8FB2740-8606-4960-80DD-5DDA97BDD96E}">
      <dgm:prSet/>
      <dgm:spPr/>
      <dgm:t>
        <a:bodyPr/>
        <a:lstStyle/>
        <a:p>
          <a:endParaRPr lang="ru-RU"/>
        </a:p>
      </dgm:t>
    </dgm:pt>
    <dgm:pt modelId="{7EB8AE67-5557-41E4-9F4A-EB40EEE1763A}" type="sibTrans" cxnId="{F8FB2740-8606-4960-80DD-5DDA97BDD96E}">
      <dgm:prSet/>
      <dgm:spPr/>
      <dgm:t>
        <a:bodyPr/>
        <a:lstStyle/>
        <a:p>
          <a:endParaRPr lang="ru-RU"/>
        </a:p>
      </dgm:t>
    </dgm:pt>
    <dgm:pt modelId="{8383F927-B710-41A4-B855-5991225A8E60}" type="pres">
      <dgm:prSet presAssocID="{837459FF-4A79-401E-84EF-47F84F0DAC53}" presName="Name0" presStyleCnt="0">
        <dgm:presLayoutVars>
          <dgm:dir/>
          <dgm:animLvl val="lvl"/>
          <dgm:resizeHandles val="exact"/>
        </dgm:presLayoutVars>
      </dgm:prSet>
      <dgm:spPr/>
    </dgm:pt>
    <dgm:pt modelId="{F7C7B894-0AEB-40F7-8B85-5D2ADA233AF4}" type="pres">
      <dgm:prSet presAssocID="{F35259E4-FC19-454C-8153-C9DB38C38F6F}" presName="Name8" presStyleCnt="0"/>
      <dgm:spPr/>
    </dgm:pt>
    <dgm:pt modelId="{238A742D-0010-4120-9A74-88EF433C1C42}" type="pres">
      <dgm:prSet presAssocID="{F35259E4-FC19-454C-8153-C9DB38C38F6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2128C3-8C3A-4CDB-A611-FEB012747372}" type="pres">
      <dgm:prSet presAssocID="{F35259E4-FC19-454C-8153-C9DB38C38F6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9F42B3-7C27-4161-AAFF-7BA56A3D386D}" type="pres">
      <dgm:prSet presAssocID="{82D140D6-4EF8-4233-80FC-08B1D009F592}" presName="Name8" presStyleCnt="0"/>
      <dgm:spPr/>
    </dgm:pt>
    <dgm:pt modelId="{71DE9E7E-77C8-4A1D-97FC-E762E63E58B3}" type="pres">
      <dgm:prSet presAssocID="{82D140D6-4EF8-4233-80FC-08B1D009F592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A1DF4F-C3EB-46F9-B6CB-B449142BD4F5}" type="pres">
      <dgm:prSet presAssocID="{82D140D6-4EF8-4233-80FC-08B1D009F59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5D62E5-2E5A-4B06-A838-7E3611490850}" type="pres">
      <dgm:prSet presAssocID="{A7BCC0DD-2E7D-4561-924D-2F399E283658}" presName="Name8" presStyleCnt="0"/>
      <dgm:spPr/>
    </dgm:pt>
    <dgm:pt modelId="{1269E72F-8583-447F-8EDF-8C3D96B1389C}" type="pres">
      <dgm:prSet presAssocID="{A7BCC0DD-2E7D-4561-924D-2F399E283658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43712B-4727-4CE7-99AE-F8FDE93A1150}" type="pres">
      <dgm:prSet presAssocID="{A7BCC0DD-2E7D-4561-924D-2F399E28365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E081FC-EA34-43DE-AD08-C65521BE5C43}" type="presOf" srcId="{A7BCC0DD-2E7D-4561-924D-2F399E283658}" destId="{5443712B-4727-4CE7-99AE-F8FDE93A1150}" srcOrd="1" destOrd="0" presId="urn:microsoft.com/office/officeart/2005/8/layout/pyramid1"/>
    <dgm:cxn modelId="{06CED437-A5DA-4741-8CD0-64B72062E443}" type="presOf" srcId="{A7BCC0DD-2E7D-4561-924D-2F399E283658}" destId="{1269E72F-8583-447F-8EDF-8C3D96B1389C}" srcOrd="0" destOrd="0" presId="urn:microsoft.com/office/officeart/2005/8/layout/pyramid1"/>
    <dgm:cxn modelId="{2A3988D8-AEA2-465B-916B-561A9DBBBB78}" type="presOf" srcId="{F35259E4-FC19-454C-8153-C9DB38C38F6F}" destId="{238A742D-0010-4120-9A74-88EF433C1C42}" srcOrd="0" destOrd="0" presId="urn:microsoft.com/office/officeart/2005/8/layout/pyramid1"/>
    <dgm:cxn modelId="{5B028FD5-2012-4BA9-BA0E-B00A69147B71}" type="presOf" srcId="{837459FF-4A79-401E-84EF-47F84F0DAC53}" destId="{8383F927-B710-41A4-B855-5991225A8E60}" srcOrd="0" destOrd="0" presId="urn:microsoft.com/office/officeart/2005/8/layout/pyramid1"/>
    <dgm:cxn modelId="{130D4F2C-2F1C-4614-AFDC-BA87EA121619}" srcId="{837459FF-4A79-401E-84EF-47F84F0DAC53}" destId="{F35259E4-FC19-454C-8153-C9DB38C38F6F}" srcOrd="0" destOrd="0" parTransId="{D4314C89-980A-47AF-AFC5-1E5F1AE8A414}" sibTransId="{A46A0DBD-CC40-4E3D-A179-E294229FBBC6}"/>
    <dgm:cxn modelId="{599CEDF0-AE6C-40D0-B5CD-F4DE4108CAE3}" type="presOf" srcId="{82D140D6-4EF8-4233-80FC-08B1D009F592}" destId="{71DE9E7E-77C8-4A1D-97FC-E762E63E58B3}" srcOrd="0" destOrd="0" presId="urn:microsoft.com/office/officeart/2005/8/layout/pyramid1"/>
    <dgm:cxn modelId="{38E48A8F-DC70-47BF-BD19-2CBA984EFF51}" srcId="{837459FF-4A79-401E-84EF-47F84F0DAC53}" destId="{82D140D6-4EF8-4233-80FC-08B1D009F592}" srcOrd="1" destOrd="0" parTransId="{1EB681F3-9F55-4CE4-A68E-86FD3086D452}" sibTransId="{69DEE603-456B-43C5-8A95-A6F6CE8FB660}"/>
    <dgm:cxn modelId="{8156BBE8-29F5-45AD-99F3-70F981F8C9ED}" type="presOf" srcId="{82D140D6-4EF8-4233-80FC-08B1D009F592}" destId="{36A1DF4F-C3EB-46F9-B6CB-B449142BD4F5}" srcOrd="1" destOrd="0" presId="urn:microsoft.com/office/officeart/2005/8/layout/pyramid1"/>
    <dgm:cxn modelId="{D03B7A86-2A71-4D18-870E-BDF42EBD4575}" type="presOf" srcId="{F35259E4-FC19-454C-8153-C9DB38C38F6F}" destId="{D02128C3-8C3A-4CDB-A611-FEB012747372}" srcOrd="1" destOrd="0" presId="urn:microsoft.com/office/officeart/2005/8/layout/pyramid1"/>
    <dgm:cxn modelId="{F8FB2740-8606-4960-80DD-5DDA97BDD96E}" srcId="{837459FF-4A79-401E-84EF-47F84F0DAC53}" destId="{A7BCC0DD-2E7D-4561-924D-2F399E283658}" srcOrd="2" destOrd="0" parTransId="{C363A969-83D1-4847-B742-5754C3FA4163}" sibTransId="{7EB8AE67-5557-41E4-9F4A-EB40EEE1763A}"/>
    <dgm:cxn modelId="{D7DA4DB1-AA5A-4DA8-87D6-5B86B6BC6DFA}" type="presParOf" srcId="{8383F927-B710-41A4-B855-5991225A8E60}" destId="{F7C7B894-0AEB-40F7-8B85-5D2ADA233AF4}" srcOrd="0" destOrd="0" presId="urn:microsoft.com/office/officeart/2005/8/layout/pyramid1"/>
    <dgm:cxn modelId="{B8CCDB07-8451-4FE4-B0BC-B578B8DDEFAA}" type="presParOf" srcId="{F7C7B894-0AEB-40F7-8B85-5D2ADA233AF4}" destId="{238A742D-0010-4120-9A74-88EF433C1C42}" srcOrd="0" destOrd="0" presId="urn:microsoft.com/office/officeart/2005/8/layout/pyramid1"/>
    <dgm:cxn modelId="{BD1CDC80-4FC3-4850-A83B-038C0519338E}" type="presParOf" srcId="{F7C7B894-0AEB-40F7-8B85-5D2ADA233AF4}" destId="{D02128C3-8C3A-4CDB-A611-FEB012747372}" srcOrd="1" destOrd="0" presId="urn:microsoft.com/office/officeart/2005/8/layout/pyramid1"/>
    <dgm:cxn modelId="{0E46952F-22C2-4299-85AC-B2A52635482F}" type="presParOf" srcId="{8383F927-B710-41A4-B855-5991225A8E60}" destId="{9B9F42B3-7C27-4161-AAFF-7BA56A3D386D}" srcOrd="1" destOrd="0" presId="urn:microsoft.com/office/officeart/2005/8/layout/pyramid1"/>
    <dgm:cxn modelId="{8A90603D-3D0A-4B53-9466-33A4C5B073F3}" type="presParOf" srcId="{9B9F42B3-7C27-4161-AAFF-7BA56A3D386D}" destId="{71DE9E7E-77C8-4A1D-97FC-E762E63E58B3}" srcOrd="0" destOrd="0" presId="urn:microsoft.com/office/officeart/2005/8/layout/pyramid1"/>
    <dgm:cxn modelId="{1EF12F4C-0266-43BB-8E03-324CE7EF6191}" type="presParOf" srcId="{9B9F42B3-7C27-4161-AAFF-7BA56A3D386D}" destId="{36A1DF4F-C3EB-46F9-B6CB-B449142BD4F5}" srcOrd="1" destOrd="0" presId="urn:microsoft.com/office/officeart/2005/8/layout/pyramid1"/>
    <dgm:cxn modelId="{73AF8936-5EC9-4E2C-B562-B9D259FB13E8}" type="presParOf" srcId="{8383F927-B710-41A4-B855-5991225A8E60}" destId="{7D5D62E5-2E5A-4B06-A838-7E3611490850}" srcOrd="2" destOrd="0" presId="urn:microsoft.com/office/officeart/2005/8/layout/pyramid1"/>
    <dgm:cxn modelId="{0D05991A-45F2-4CE4-B34D-4D9CF65F2E20}" type="presParOf" srcId="{7D5D62E5-2E5A-4B06-A838-7E3611490850}" destId="{1269E72F-8583-447F-8EDF-8C3D96B1389C}" srcOrd="0" destOrd="0" presId="urn:microsoft.com/office/officeart/2005/8/layout/pyramid1"/>
    <dgm:cxn modelId="{201E3D61-F043-493C-9C53-BCF578102563}" type="presParOf" srcId="{7D5D62E5-2E5A-4B06-A838-7E3611490850}" destId="{5443712B-4727-4CE7-99AE-F8FDE93A115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8A742D-0010-4120-9A74-88EF433C1C42}">
      <dsp:nvSpPr>
        <dsp:cNvPr id="0" name=""/>
        <dsp:cNvSpPr/>
      </dsp:nvSpPr>
      <dsp:spPr>
        <a:xfrm>
          <a:off x="2105058" y="0"/>
          <a:ext cx="2105059" cy="1302633"/>
        </a:xfrm>
        <a:prstGeom prst="trapezoid">
          <a:avLst>
            <a:gd name="adj" fmla="val 808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kern="1200" dirty="0" smtClean="0">
            <a:solidFill>
              <a:schemeClr val="bg1"/>
            </a:solidFill>
          </a:endParaRP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bg1"/>
              </a:solidFill>
            </a:rPr>
            <a:t>Топ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bg1"/>
              </a:solidFill>
            </a:rPr>
            <a:t>менеджмент</a:t>
          </a:r>
          <a:endParaRPr lang="ru-RU" sz="1800" kern="1200" dirty="0">
            <a:solidFill>
              <a:schemeClr val="bg1"/>
            </a:solidFill>
          </a:endParaRPr>
        </a:p>
      </dsp:txBody>
      <dsp:txXfrm>
        <a:off x="2105058" y="0"/>
        <a:ext cx="2105059" cy="1302633"/>
      </dsp:txXfrm>
    </dsp:sp>
    <dsp:sp modelId="{71DE9E7E-77C8-4A1D-97FC-E762E63E58B3}">
      <dsp:nvSpPr>
        <dsp:cNvPr id="0" name=""/>
        <dsp:cNvSpPr/>
      </dsp:nvSpPr>
      <dsp:spPr>
        <a:xfrm>
          <a:off x="1052529" y="1302633"/>
          <a:ext cx="4210118" cy="1302633"/>
        </a:xfrm>
        <a:prstGeom prst="trapezoid">
          <a:avLst>
            <a:gd name="adj" fmla="val 808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500" kern="1200" dirty="0" smtClean="0">
              <a:solidFill>
                <a:schemeClr val="bg1"/>
              </a:solidFill>
            </a:rPr>
            <a:t>Линейные руководители</a:t>
          </a:r>
          <a:endParaRPr lang="ru-RU" sz="3500" kern="1200" dirty="0">
            <a:solidFill>
              <a:schemeClr val="bg1"/>
            </a:solidFill>
          </a:endParaRPr>
        </a:p>
      </dsp:txBody>
      <dsp:txXfrm>
        <a:off x="1789300" y="1302633"/>
        <a:ext cx="2736576" cy="1302633"/>
      </dsp:txXfrm>
    </dsp:sp>
    <dsp:sp modelId="{1269E72F-8583-447F-8EDF-8C3D96B1389C}">
      <dsp:nvSpPr>
        <dsp:cNvPr id="0" name=""/>
        <dsp:cNvSpPr/>
      </dsp:nvSpPr>
      <dsp:spPr>
        <a:xfrm>
          <a:off x="0" y="2605267"/>
          <a:ext cx="6315177" cy="1302633"/>
        </a:xfrm>
        <a:prstGeom prst="trapezoid">
          <a:avLst>
            <a:gd name="adj" fmla="val 808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800" kern="1200" dirty="0" smtClean="0">
              <a:solidFill>
                <a:schemeClr val="bg1"/>
              </a:solidFill>
            </a:rPr>
            <a:t>Сотрудники</a:t>
          </a:r>
          <a:endParaRPr lang="ru-RU" sz="4800" kern="1200" dirty="0">
            <a:solidFill>
              <a:schemeClr val="bg1"/>
            </a:solidFill>
          </a:endParaRPr>
        </a:p>
      </dsp:txBody>
      <dsp:txXfrm>
        <a:off x="1105155" y="2605267"/>
        <a:ext cx="4104865" cy="1302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A1AD77FE-8F84-4A87-92EF-BC4AC8F66A00}" type="datetimeFigureOut">
              <a:rPr lang="de-DE" smtClean="0"/>
              <a:pPr/>
              <a:t>28.12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9EC34E5E-BE66-47E8-B56A-6BFA0CAFE0C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3888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34E5E-BE66-47E8-B56A-6BFA0CAFE0C2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106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1"/>
          <p:cNvSpPr>
            <a:spLocks noGrp="1"/>
          </p:cNvSpPr>
          <p:nvPr>
            <p:ph type="title"/>
          </p:nvPr>
        </p:nvSpPr>
        <p:spPr>
          <a:xfrm>
            <a:off x="251519" y="850056"/>
            <a:ext cx="6948000" cy="360000"/>
          </a:xfrm>
        </p:spPr>
        <p:txBody>
          <a:bodyPr lIns="0" tIns="0" rIns="0" bIns="0"/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296054"/>
            <a:ext cx="6948000" cy="557798"/>
          </a:xfrm>
        </p:spPr>
        <p:txBody>
          <a:bodyPr lIns="0" anchor="t"/>
          <a:lstStyle>
            <a:lvl1pPr>
              <a:spcAft>
                <a:spcPts val="0"/>
              </a:spcAft>
              <a:defRPr sz="1800" baseline="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Referent, Datum, Ort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91836"/>
            <a:ext cx="8640694" cy="28281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1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idx="1"/>
          </p:nvPr>
        </p:nvSpPr>
        <p:spPr>
          <a:xfrm>
            <a:off x="252000" y="1260000"/>
            <a:ext cx="8640000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rgbClr val="0054BB"/>
              </a:buClr>
              <a:defRPr/>
            </a:lvl2pPr>
            <a:lvl3pPr>
              <a:buClr>
                <a:srgbClr val="0054BB"/>
              </a:buClr>
              <a:defRPr/>
            </a:lvl3pPr>
            <a:lvl4pPr>
              <a:buClr>
                <a:srgbClr val="0054BB"/>
              </a:buClr>
              <a:defRPr/>
            </a:lvl4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91836"/>
            <a:ext cx="8640694" cy="28281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1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seit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idx="1"/>
          </p:nvPr>
        </p:nvSpPr>
        <p:spPr>
          <a:xfrm>
            <a:off x="252000" y="1260000"/>
            <a:ext cx="4193391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rgbClr val="0054BB"/>
              </a:buClr>
              <a:defRPr/>
            </a:lvl2pPr>
            <a:lvl3pPr>
              <a:buClr>
                <a:srgbClr val="0054BB"/>
              </a:buClr>
              <a:defRPr/>
            </a:lvl3pPr>
            <a:lvl4pPr>
              <a:buClr>
                <a:srgbClr val="0054BB"/>
              </a:buClr>
              <a:defRPr/>
            </a:lvl4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idx="13"/>
          </p:nvPr>
        </p:nvSpPr>
        <p:spPr>
          <a:xfrm>
            <a:off x="4697391" y="1260000"/>
            <a:ext cx="4193391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rgbClr val="0054BB"/>
              </a:buClr>
              <a:defRPr/>
            </a:lvl2pPr>
            <a:lvl3pPr>
              <a:buClr>
                <a:srgbClr val="0054BB"/>
              </a:buClr>
              <a:defRPr/>
            </a:lvl3pPr>
            <a:lvl4pPr>
              <a:buClr>
                <a:srgbClr val="0054BB"/>
              </a:buClr>
              <a:defRPr/>
            </a:lvl4pPr>
          </a:lstStyle>
          <a:p>
            <a:pPr lvl="0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91836"/>
            <a:ext cx="8640694" cy="282819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1800" b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variante 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11" name="Titel 11"/>
          <p:cNvSpPr>
            <a:spLocks noGrp="1"/>
          </p:cNvSpPr>
          <p:nvPr>
            <p:ph type="title"/>
          </p:nvPr>
        </p:nvSpPr>
        <p:spPr>
          <a:xfrm>
            <a:off x="251519" y="850056"/>
            <a:ext cx="6948000" cy="360000"/>
          </a:xfrm>
        </p:spPr>
        <p:txBody>
          <a:bodyPr lIns="0" tIns="0" rIns="0" bIns="0"/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296054"/>
            <a:ext cx="6948000" cy="557798"/>
          </a:xfrm>
        </p:spPr>
        <p:txBody>
          <a:bodyPr lIns="0" anchor="t"/>
          <a:lstStyle>
            <a:lvl1pPr>
              <a:spcAft>
                <a:spcPts val="0"/>
              </a:spcAft>
              <a:defRPr sz="1800" baseline="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 smtClean="0"/>
              <a:t>Sublin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Referent, Datum, Ort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181;MIO_UPDATE=True;MIO_VERSION=24.06.2014 16:42:16;MIO_DBID=04C3A4F6-43CB-4C77-973D-7C328AA5EC17;MIO_LASTDOWNLOADED=24.06.2014 16:42:16;MIO_OBJECTNAME=Master blanko(nur in Ausnahmefällen zu verwenden!);MIO_LASTEDITORNAME=Yvonne Hei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519" y="252000"/>
            <a:ext cx="8640000" cy="396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08000" rIns="0" bIns="0" rtlCol="0" anchor="t" anchorCtr="0">
            <a:noAutofit/>
          </a:bodyPr>
          <a:lstStyle/>
          <a:p>
            <a:pPr marL="0" lvl="0"/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210" y="6513345"/>
            <a:ext cx="5864225" cy="1584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lnSpc>
                <a:spcPct val="100000"/>
              </a:lnSpc>
              <a:defRPr sz="8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2000" y="6513345"/>
            <a:ext cx="226118" cy="1584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lnSpc>
                <a:spcPct val="100000"/>
              </a:lnSpc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4EF52DEE-8E31-4566-81B0-650184D754F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252000" y="1260000"/>
            <a:ext cx="8640000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smtClean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63746" y="252000"/>
            <a:ext cx="1627773" cy="646232"/>
          </a:xfrm>
          <a:prstGeom prst="rect">
            <a:avLst/>
          </a:prstGeom>
        </p:spPr>
      </p:pic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7" r:id="rId3"/>
    <p:sldLayoutId id="2147483781" r:id="rId4"/>
    <p:sldLayoutId id="2147483778" r:id="rId5"/>
    <p:sldLayoutId id="2147483782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200" b="1" kern="1200" dirty="0">
          <a:solidFill>
            <a:schemeClr val="accent1"/>
          </a:solidFill>
          <a:latin typeface="Calibri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+mj-lt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4BB"/>
        </a:buClr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4BB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4BB"/>
        </a:buClr>
        <a:buFont typeface="Arial" panose="020B0604020202020204" pitchFamily="34" charset="0"/>
        <a:buChar char="•"/>
        <a:tabLst>
          <a:tab pos="809625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92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29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7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lubchen@list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1183125" y="2795522"/>
            <a:ext cx="6948000" cy="1457046"/>
          </a:xfrm>
        </p:spPr>
        <p:txBody>
          <a:bodyPr/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-аналитик и управление организационными изменениями: обороняться или наступать?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3462" y="701863"/>
            <a:ext cx="3947326" cy="157897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390356" y="4491719"/>
            <a:ext cx="6740769" cy="9806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юбовь 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убовицка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42611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1519" y="987544"/>
            <a:ext cx="8640694" cy="282819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 навязываются «сверху вниз»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ривая принятия изменений: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неджмент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сотрудник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1277728"/>
            <a:ext cx="5994536" cy="406814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350435" y="1311792"/>
            <a:ext cx="2541084" cy="351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dirty="0" smtClean="0">
                <a:latin typeface="+mj-lt"/>
              </a:rPr>
              <a:t>Важно помнить, что менеджмент узнает о всех грядущих масштабных внутрикорпоративных изменениях намного раньше, чем остальные сотрудники. </a:t>
            </a: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6210" y="6186690"/>
            <a:ext cx="6438841" cy="319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400" i="1" dirty="0" smtClean="0">
                <a:latin typeface="+mj-lt"/>
              </a:rPr>
              <a:t>Источник:</a:t>
            </a:r>
            <a:r>
              <a:rPr lang="en-US" sz="1400" i="1" dirty="0" smtClean="0">
                <a:latin typeface="+mj-lt"/>
              </a:rPr>
              <a:t> BASF EMEA Office Workspace Framework</a:t>
            </a:r>
            <a:endParaRPr lang="ru-RU" sz="1400" i="1" dirty="0" err="1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093713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спределение сотрудников по категориям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ривая принятия новшеств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25" y="1018491"/>
            <a:ext cx="6527360" cy="403754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40" y="6190229"/>
            <a:ext cx="6230652" cy="32311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37319" y="5415431"/>
            <a:ext cx="8454199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уемая в маркетинге кривая принятия нового продукта так же актуальна и для категоризации сотрудников по скорости принятия изменений в рамках компании </a:t>
            </a:r>
          </a:p>
        </p:txBody>
      </p:sp>
    </p:spTree>
    <p:extLst>
      <p:ext uri="{BB962C8B-B14F-4D97-AF65-F5344CB8AC3E}">
        <p14:creationId xmlns:p14="http://schemas.microsoft.com/office/powerpoint/2010/main" val="2130244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ейс из практик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err="1" smtClean="0"/>
              <a:t>Дубовицкая</a:t>
            </a:r>
            <a:r>
              <a:rPr lang="ru-RU" dirty="0" smtClean="0"/>
              <a:t>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зменениям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3" r="3985" b="8794"/>
          <a:stretch/>
        </p:blipFill>
        <p:spPr>
          <a:xfrm>
            <a:off x="250824" y="1257190"/>
            <a:ext cx="4061615" cy="286464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4933" t="13163" r="5733" b="3488"/>
          <a:stretch/>
        </p:blipFill>
        <p:spPr>
          <a:xfrm>
            <a:off x="4395760" y="2949565"/>
            <a:ext cx="4464500" cy="298521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548119" y="2145961"/>
            <a:ext cx="4159783" cy="573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b="1" dirty="0" smtClean="0">
                <a:latin typeface="+mj-lt"/>
              </a:rPr>
              <a:t>Сотрудники могут встречать Вас и идею о нововведениях по-разному…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1519" y="4962903"/>
            <a:ext cx="3680401" cy="573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b="1" dirty="0" smtClean="0">
                <a:latin typeface="+mj-lt"/>
              </a:rPr>
              <a:t>Очень по-разному… </a:t>
            </a:r>
          </a:p>
        </p:txBody>
      </p:sp>
    </p:spTree>
    <p:extLst>
      <p:ext uri="{BB962C8B-B14F-4D97-AF65-F5344CB8AC3E}">
        <p14:creationId xmlns:p14="http://schemas.microsoft.com/office/powerpoint/2010/main" val="23428843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и в процессе 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 (по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sc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4850" y="6414869"/>
            <a:ext cx="5864225" cy="158400"/>
          </a:xfrm>
        </p:spPr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евая мод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3569" y="2432694"/>
            <a:ext cx="2540781" cy="2540781"/>
          </a:xfrm>
          <a:prstGeom prst="rect">
            <a:avLst/>
          </a:prstGeom>
          <a:noFill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939" y="1202478"/>
            <a:ext cx="2443045" cy="2443045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5203380" y="3864630"/>
            <a:ext cx="2620511" cy="2550239"/>
            <a:chOff x="5656170" y="0"/>
            <a:chExt cx="2637714" cy="2737026"/>
          </a:xfrm>
        </p:grpSpPr>
        <p:sp>
          <p:nvSpPr>
            <p:cNvPr id="14" name="Shape 13"/>
            <p:cNvSpPr/>
            <p:nvPr/>
          </p:nvSpPr>
          <p:spPr>
            <a:xfrm>
              <a:off x="5656170" y="0"/>
              <a:ext cx="2637714" cy="2737026"/>
            </a:xfrm>
            <a:prstGeom prst="gear9">
              <a:avLst/>
            </a:prstGeom>
            <a:solidFill>
              <a:schemeClr val="accent1">
                <a:lumMod val="10000"/>
                <a:lumOff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оддержи-</a:t>
              </a:r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вающие</a:t>
              </a:r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подразделе-</a:t>
              </a:r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ия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944029" y="1244437"/>
            <a:ext cx="2547505" cy="2493764"/>
            <a:chOff x="5647325" y="170110"/>
            <a:chExt cx="2547505" cy="2493764"/>
          </a:xfrm>
        </p:grpSpPr>
        <p:sp>
          <p:nvSpPr>
            <p:cNvPr id="17" name="Shape 16"/>
            <p:cNvSpPr/>
            <p:nvPr/>
          </p:nvSpPr>
          <p:spPr>
            <a:xfrm>
              <a:off x="5647325" y="170110"/>
              <a:ext cx="2547505" cy="2493764"/>
            </a:xfrm>
            <a:prstGeom prst="gear9">
              <a:avLst/>
            </a:prstGeom>
            <a:solidFill>
              <a:srgbClr val="0092C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оп-менеджмент и высшее руководство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832532" y="3762061"/>
            <a:ext cx="2732008" cy="2732008"/>
            <a:chOff x="5656170" y="0"/>
            <a:chExt cx="2732008" cy="2732008"/>
          </a:xfrm>
        </p:grpSpPr>
        <p:sp>
          <p:nvSpPr>
            <p:cNvPr id="20" name="Shape 19"/>
            <p:cNvSpPr/>
            <p:nvPr/>
          </p:nvSpPr>
          <p:spPr>
            <a:xfrm>
              <a:off x="5656170" y="0"/>
              <a:ext cx="2732008" cy="2732008"/>
            </a:xfrm>
            <a:prstGeom prst="gear9">
              <a:avLst/>
            </a:prstGeom>
            <a:solidFill>
              <a:srgbClr val="002965">
                <a:alpha val="55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endParaRPr lang="ru-RU" dirty="0"/>
            </a:p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роектная команда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5811911" y="1748719"/>
            <a:ext cx="1494330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676148" y="3270713"/>
            <a:ext cx="1461230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о управлению изменениями</a:t>
            </a:r>
          </a:p>
        </p:txBody>
      </p:sp>
      <p:sp>
        <p:nvSpPr>
          <p:cNvPr id="3" name="Smiley Face 2"/>
          <p:cNvSpPr/>
          <p:nvPr/>
        </p:nvSpPr>
        <p:spPr>
          <a:xfrm>
            <a:off x="2942796" y="4077039"/>
            <a:ext cx="733352" cy="629418"/>
          </a:xfrm>
          <a:prstGeom prst="smileyFac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767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и в процессе 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 (по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sc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евая мод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119819"/>
            <a:ext cx="2540781" cy="2540781"/>
          </a:xfrm>
          <a:prstGeom prst="rect">
            <a:avLst/>
          </a:prstGeom>
          <a:noFill/>
        </p:spPr>
      </p:pic>
      <p:sp>
        <p:nvSpPr>
          <p:cNvPr id="21" name="Shape 4"/>
          <p:cNvSpPr/>
          <p:nvPr/>
        </p:nvSpPr>
        <p:spPr>
          <a:xfrm>
            <a:off x="1663147" y="4500497"/>
            <a:ext cx="1633498" cy="14043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6040" tIns="66040" rIns="66040" bIns="66040" numCol="1" spcCol="1270" anchor="ctr" anchorCtr="0">
            <a:noAutofit/>
          </a:bodyPr>
          <a:lstStyle/>
          <a:p>
            <a:pPr lvl="0" algn="ctr" defTabSz="2311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200" kern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23329" y="1922722"/>
            <a:ext cx="1595772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17520" y="1922722"/>
            <a:ext cx="5873999" cy="1100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с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ольше данных подтверждают наличие прямой зависимости между успехом инициативы и тем, насколько хорошо был решен вопрос с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сурсами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0041" y="3904999"/>
            <a:ext cx="3742262" cy="249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604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и в процессе 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 (по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sc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евая мод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4"/>
          <p:cNvSpPr/>
          <p:nvPr/>
        </p:nvSpPr>
        <p:spPr>
          <a:xfrm>
            <a:off x="1663147" y="4500497"/>
            <a:ext cx="1633498" cy="14043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6040" tIns="66040" rIns="66040" bIns="66040" numCol="1" spcCol="1270" anchor="ctr" anchorCtr="0">
            <a:noAutofit/>
          </a:bodyPr>
          <a:lstStyle/>
          <a:p>
            <a:pPr lvl="0" algn="ctr" defTabSz="2311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200" kern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2006" y="1922722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35726" y="1935717"/>
            <a:ext cx="5684520" cy="842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епень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ия спонсоров определяет успех или провал проект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smtClean="0">
              <a:latin typeface="+mj-lt"/>
            </a:endParaRP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19" y="1082535"/>
            <a:ext cx="2432515" cy="245690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4932" y="3944762"/>
            <a:ext cx="1885198" cy="256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85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и в процессе 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 (по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sc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евая мод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2006" y="1922722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17520" y="1660619"/>
            <a:ext cx="5684520" cy="1197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ношени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инейного менеджера к переменам отразится (будет скопировано) на отношении его подчиненных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539" y="1118074"/>
            <a:ext cx="2443045" cy="244304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20727" y="1660618"/>
            <a:ext cx="1516667" cy="14483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мент среднего звена и руководители отделов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0452" y="3991003"/>
            <a:ext cx="4921440" cy="24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4810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и в процессе 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 (по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sc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евая мод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2006" y="1922722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Команда по управлению изменениями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206999" y="2052902"/>
            <a:ext cx="5684520" cy="7796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правления и менеджмента техническая сторона изменений не продвинется вперед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latin typeface="+mj-lt"/>
            </a:endParaRPr>
          </a:p>
        </p:txBody>
      </p:sp>
      <p:sp>
        <p:nvSpPr>
          <p:cNvPr id="12" name="Shape 11"/>
          <p:cNvSpPr/>
          <p:nvPr/>
        </p:nvSpPr>
        <p:spPr>
          <a:xfrm>
            <a:off x="113280" y="1163826"/>
            <a:ext cx="2732008" cy="2732008"/>
          </a:xfrm>
          <a:prstGeom prst="gear9">
            <a:avLst/>
          </a:prstGeom>
          <a:solidFill>
            <a:srgbClr val="002965">
              <a:alpha val="55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dirty="0"/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ая команд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8009" y="3910829"/>
            <a:ext cx="3292426" cy="2469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375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и в процессе 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 (по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sc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err="1" smtClean="0"/>
              <a:t>Дубовицкая</a:t>
            </a:r>
            <a:r>
              <a:rPr lang="ru-RU" dirty="0" smtClean="0"/>
              <a:t>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олевая мод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4"/>
          <p:cNvSpPr/>
          <p:nvPr/>
        </p:nvSpPr>
        <p:spPr>
          <a:xfrm>
            <a:off x="1663147" y="4500497"/>
            <a:ext cx="1633498" cy="14043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6040" tIns="66040" rIns="66040" bIns="66040" numCol="1" spcCol="1270" anchor="ctr" anchorCtr="0">
            <a:noAutofit/>
          </a:bodyPr>
          <a:lstStyle/>
          <a:p>
            <a:pPr lvl="0" algn="ctr" defTabSz="2311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200" kern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8926" y="1843498"/>
            <a:ext cx="1365818" cy="93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Менеджмент среднего звена и руководители отделов</a:t>
            </a: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460357" y="2057277"/>
            <a:ext cx="5041465" cy="16511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ивающие подразделения привносят экспертизу по различным функциональным направлениям, включая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R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ргразвитие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обучение, коммуникацию, специалистов по предметным областям</a:t>
            </a:r>
          </a:p>
          <a:p>
            <a:pPr marL="174625" lvl="1" indent="-174625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51519" y="1138139"/>
            <a:ext cx="2836300" cy="2545563"/>
            <a:chOff x="5656170" y="0"/>
            <a:chExt cx="2854920" cy="2732008"/>
          </a:xfrm>
        </p:grpSpPr>
        <p:sp>
          <p:nvSpPr>
            <p:cNvPr id="13" name="Shape 12"/>
            <p:cNvSpPr/>
            <p:nvPr/>
          </p:nvSpPr>
          <p:spPr>
            <a:xfrm>
              <a:off x="5656170" y="0"/>
              <a:ext cx="2854920" cy="2732008"/>
            </a:xfrm>
            <a:prstGeom prst="gear9">
              <a:avLst/>
            </a:prstGeom>
            <a:solidFill>
              <a:schemeClr val="accent1">
                <a:lumMod val="10000"/>
                <a:lumOff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оддержи-</a:t>
              </a:r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вающие</a:t>
              </a:r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подразделе-</a:t>
              </a:r>
            </a:p>
            <a:p>
              <a:pPr algn="ctr"/>
              <a:r>
                <a:rPr lang="ru-RU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ия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Shape 4"/>
            <p:cNvSpPr/>
            <p:nvPr/>
          </p:nvSpPr>
          <p:spPr>
            <a:xfrm>
              <a:off x="6205425" y="639960"/>
              <a:ext cx="1633498" cy="14043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6040" tIns="66040" rIns="66040" bIns="66040" numCol="1" spcCol="1270" anchor="ctr" anchorCtr="0">
              <a:noAutofit/>
            </a:bodyPr>
            <a:lstStyle/>
            <a:p>
              <a:pPr lvl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200" kern="1200" dirty="0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4753" y="3861097"/>
            <a:ext cx="3712838" cy="24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31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6791991" y="1532490"/>
            <a:ext cx="2247837" cy="4282440"/>
          </a:xfrm>
          <a:prstGeom prst="rect">
            <a:avLst/>
          </a:prstGeom>
          <a:solidFill>
            <a:schemeClr val="tx2">
              <a:lumMod val="20000"/>
              <a:lumOff val="80000"/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11602" y="1532490"/>
            <a:ext cx="2086933" cy="4282440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431213" y="1532490"/>
            <a:ext cx="2086933" cy="4282440"/>
          </a:xfrm>
          <a:prstGeom prst="rect">
            <a:avLst/>
          </a:prstGeom>
          <a:solidFill>
            <a:schemeClr val="tx2">
              <a:lumMod val="60000"/>
              <a:lumOff val="40000"/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50824" y="1532490"/>
            <a:ext cx="2086933" cy="4282440"/>
          </a:xfrm>
          <a:prstGeom prst="rect">
            <a:avLst/>
          </a:prstGeom>
          <a:solidFill>
            <a:srgbClr val="002965">
              <a:alpha val="6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0908" y="931963"/>
            <a:ext cx="8640694" cy="282819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 методологи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ange First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0908" y="121949"/>
            <a:ext cx="8640000" cy="722655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дели зрелости организаци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правлению изменениям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entagon 2"/>
          <p:cNvSpPr/>
          <p:nvPr/>
        </p:nvSpPr>
        <p:spPr>
          <a:xfrm>
            <a:off x="251519" y="1676400"/>
            <a:ext cx="1973521" cy="960120"/>
          </a:xfrm>
          <a:prstGeom prst="homePlate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Зачаточный</a:t>
            </a:r>
          </a:p>
        </p:txBody>
      </p:sp>
      <p:sp>
        <p:nvSpPr>
          <p:cNvPr id="7" name="Pentagon 6"/>
          <p:cNvSpPr/>
          <p:nvPr/>
        </p:nvSpPr>
        <p:spPr>
          <a:xfrm>
            <a:off x="2431561" y="1676400"/>
            <a:ext cx="1973521" cy="960120"/>
          </a:xfrm>
          <a:prstGeom prst="homePlate">
            <a:avLst/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Осязаемый</a:t>
            </a:r>
          </a:p>
        </p:txBody>
      </p:sp>
      <p:sp>
        <p:nvSpPr>
          <p:cNvPr id="8" name="Pentagon 7"/>
          <p:cNvSpPr/>
          <p:nvPr/>
        </p:nvSpPr>
        <p:spPr>
          <a:xfrm>
            <a:off x="4611603" y="1676400"/>
            <a:ext cx="1973521" cy="960120"/>
          </a:xfrm>
          <a:prstGeom prst="homePlate">
            <a:avLst/>
          </a:prstGeom>
          <a:solidFill>
            <a:schemeClr val="accent1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Организационный</a:t>
            </a:r>
          </a:p>
        </p:txBody>
      </p:sp>
      <p:sp>
        <p:nvSpPr>
          <p:cNvPr id="9" name="Pentagon 8"/>
          <p:cNvSpPr/>
          <p:nvPr/>
        </p:nvSpPr>
        <p:spPr>
          <a:xfrm>
            <a:off x="6791991" y="1676400"/>
            <a:ext cx="2140311" cy="960120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Институциональны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1519" y="291084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Управление изменениями в проектах представлено лишь базовыми коммуникациями и тренингам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7918" y="291084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Управление изменениями используется в проектах компании, но без постоянств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68307" y="291084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Управление изменениями постоянно используется на всех ключевых проектах компании и применяется при изменениях внутренних процессов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75385" y="2880360"/>
            <a:ext cx="1973521" cy="2904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dirty="0" smtClean="0">
                <a:latin typeface="+mj-lt"/>
              </a:rPr>
              <a:t>Бизнес-спонсоры из топ-менеджмента управляют общей способностью организации к изменениям</a:t>
            </a:r>
          </a:p>
        </p:txBody>
      </p:sp>
    </p:spTree>
    <p:extLst>
      <p:ext uri="{BB962C8B-B14F-4D97-AF65-F5344CB8AC3E}">
        <p14:creationId xmlns:p14="http://schemas.microsoft.com/office/powerpoint/2010/main" val="606525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яемся с понятиям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38597" y="4984844"/>
            <a:ext cx="5220332" cy="1201846"/>
          </a:xfrm>
        </p:spPr>
        <p:txBody>
          <a:bodyPr/>
          <a:lstStyle/>
          <a:p>
            <a:pPr algn="just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зменение –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это переход от текущего состояния к целевому будущему состоянию.</a:t>
            </a:r>
          </a:p>
          <a:p>
            <a:pPr algn="just"/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Стандарт по управлению изменениями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CMP)</a:t>
            </a:r>
            <a:endParaRPr lang="ru-RU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Что такое изменение?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597" y="1234748"/>
            <a:ext cx="5333356" cy="354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187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own Arrow 22"/>
          <p:cNvSpPr/>
          <p:nvPr/>
        </p:nvSpPr>
        <p:spPr>
          <a:xfrm>
            <a:off x="1280160" y="1264920"/>
            <a:ext cx="2590800" cy="5077755"/>
          </a:xfrm>
          <a:prstGeom prst="downArrow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нципов</a:t>
            </a:r>
          </a:p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дель управления изменениями Джона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оттер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1519" y="1264920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1 Создание ощущения срочности изменений</a:t>
            </a:r>
          </a:p>
        </p:txBody>
      </p:sp>
      <p:sp>
        <p:nvSpPr>
          <p:cNvPr id="8" name="Rectangle 7"/>
          <p:cNvSpPr/>
          <p:nvPr/>
        </p:nvSpPr>
        <p:spPr>
          <a:xfrm>
            <a:off x="250825" y="1916291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 Создание прочной коалиции сторонников перемен</a:t>
            </a:r>
          </a:p>
        </p:txBody>
      </p:sp>
      <p:sp>
        <p:nvSpPr>
          <p:cNvPr id="9" name="Rectangle 8"/>
          <p:cNvSpPr/>
          <p:nvPr/>
        </p:nvSpPr>
        <p:spPr>
          <a:xfrm>
            <a:off x="250824" y="2567662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3 Разработка виденья и стратегии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0823" y="3219033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4 </a:t>
            </a:r>
            <a:r>
              <a:rPr lang="ru-RU" b="1" dirty="0" err="1" smtClean="0">
                <a:solidFill>
                  <a:schemeClr val="bg1"/>
                </a:solidFill>
              </a:rPr>
              <a:t>Коммуницирование</a:t>
            </a:r>
            <a:r>
              <a:rPr lang="ru-RU" b="1" dirty="0" smtClean="0">
                <a:solidFill>
                  <a:schemeClr val="bg1"/>
                </a:solidFill>
              </a:rPr>
              <a:t> виденья будущего состояния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0822" y="3870404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5 Добиться массовой поддержки плана перемен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0821" y="4521775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6 Планирование и достижение быстрых побед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0821" y="5173146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7 Наращивание успеха и усиление изменений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0820" y="5824515"/>
            <a:ext cx="4960561" cy="518160"/>
          </a:xfrm>
          <a:prstGeom prst="rect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8 Закрепление новых принципов в культуре организации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6518" y="1318796"/>
            <a:ext cx="1480187" cy="227343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3600" y="3901957"/>
            <a:ext cx="2486025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7382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0825" y="1022134"/>
            <a:ext cx="8640694" cy="282819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андарт по управлению изменениям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MP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тодологии практическог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м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1308735"/>
            <a:ext cx="4457700" cy="45148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541520" y="1434465"/>
            <a:ext cx="4349999" cy="4404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300"/>
              </a:spcAft>
            </a:pPr>
            <a:r>
              <a:rPr lang="ru-RU" dirty="0" smtClean="0">
                <a:latin typeface="+mj-lt"/>
              </a:rPr>
              <a:t>Одним из наиболее приближенных к практике управления изменениями руководств на наш взгляд является Стандарт по управлению изменениями Ассоциации профессионалов управления изменениями </a:t>
            </a:r>
            <a:r>
              <a:rPr lang="en-US" dirty="0" smtClean="0">
                <a:latin typeface="+mj-lt"/>
              </a:rPr>
              <a:t>(ACMP)</a:t>
            </a:r>
            <a:r>
              <a:rPr lang="ru-RU" dirty="0" smtClean="0">
                <a:latin typeface="+mj-lt"/>
              </a:rPr>
              <a:t>. </a:t>
            </a:r>
          </a:p>
          <a:p>
            <a:pPr algn="just">
              <a:spcAft>
                <a:spcPts val="300"/>
              </a:spcAft>
            </a:pPr>
            <a:endParaRPr lang="ru-RU" sz="1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795032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TextBox 4"/>
          <p:cNvSpPr txBox="1"/>
          <p:nvPr/>
        </p:nvSpPr>
        <p:spPr>
          <a:xfrm>
            <a:off x="478118" y="604911"/>
            <a:ext cx="970671" cy="559894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РУКОВОДСТВО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877725" y="914404"/>
            <a:ext cx="970671" cy="559894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ПЕРСОНАЛ</a:t>
            </a:r>
          </a:p>
        </p:txBody>
      </p:sp>
    </p:spTree>
    <p:extLst>
      <p:ext uri="{BB962C8B-B14F-4D97-AF65-F5344CB8AC3E}">
        <p14:creationId xmlns:p14="http://schemas.microsoft.com/office/powerpoint/2010/main" val="11790858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ороняться или наступать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81145" y="1182419"/>
            <a:ext cx="7181710" cy="4785775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делать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92423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4805" y="716350"/>
            <a:ext cx="8640694" cy="282819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пределите свое место и роль в проекте по изменения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аг</a:t>
            </a:r>
            <a:r>
              <a:rPr lang="ru-RU" dirty="0" smtClean="0"/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954" y="1018491"/>
            <a:ext cx="5078436" cy="507949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 rot="367344">
            <a:off x="1002424" y="1793154"/>
            <a:ext cx="1575765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ИТИК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91961" y="5375278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РУКОВОДИТЕЛЬ ПРОЕКТА?</a:t>
            </a:r>
          </a:p>
        </p:txBody>
      </p:sp>
      <p:sp>
        <p:nvSpPr>
          <p:cNvPr id="10" name="TextBox 9"/>
          <p:cNvSpPr txBox="1"/>
          <p:nvPr/>
        </p:nvSpPr>
        <p:spPr>
          <a:xfrm rot="20864582">
            <a:off x="1104594" y="4128559"/>
            <a:ext cx="1955594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НЕШНИЙ ЭКСПЕРТ?</a:t>
            </a:r>
          </a:p>
        </p:txBody>
      </p:sp>
      <p:sp>
        <p:nvSpPr>
          <p:cNvPr id="11" name="TextBox 10"/>
          <p:cNvSpPr txBox="1"/>
          <p:nvPr/>
        </p:nvSpPr>
        <p:spPr>
          <a:xfrm rot="1006363">
            <a:off x="6181709" y="4455796"/>
            <a:ext cx="2507254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СТАВИТЕЛЬ ЗАКАЗЧИКА?</a:t>
            </a:r>
          </a:p>
        </p:txBody>
      </p:sp>
      <p:sp>
        <p:nvSpPr>
          <p:cNvPr id="12" name="TextBox 11"/>
          <p:cNvSpPr txBox="1"/>
          <p:nvPr/>
        </p:nvSpPr>
        <p:spPr>
          <a:xfrm rot="20631236">
            <a:off x="6189007" y="1367197"/>
            <a:ext cx="2213955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СТАВИТЕЛЬ ПОДРЯДЧИКА?</a:t>
            </a:r>
          </a:p>
        </p:txBody>
      </p:sp>
    </p:spTree>
    <p:extLst>
      <p:ext uri="{BB962C8B-B14F-4D97-AF65-F5344CB8AC3E}">
        <p14:creationId xmlns:p14="http://schemas.microsoft.com/office/powerpoint/2010/main" val="38763862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дель Джона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оттер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+ коммуникац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аг</a:t>
            </a:r>
            <a:r>
              <a:rPr lang="ru-RU" dirty="0" smtClean="0"/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525" y="1040383"/>
            <a:ext cx="9155526" cy="494286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742473" y="5264913"/>
            <a:ext cx="6161649" cy="4360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МУНИЦИРУЙТЕ!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5305" y="4136942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КАЗЫ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5058" y="2847667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БЪЯСНЯ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29291" y="1706641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БЕЖД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34522" y="1637842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РАШИ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29071" y="1629764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ЛУШ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92105" y="2397493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АЗЫ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92105" y="3812343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КАЗЫВАЙ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60674" y="4347960"/>
            <a:ext cx="2189761" cy="70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ЧИТЕ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222215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" y="-33737"/>
            <a:ext cx="9144000" cy="599843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-828" y="-33737"/>
            <a:ext cx="9144828" cy="5998439"/>
          </a:xfrm>
          <a:prstGeom prst="rect">
            <a:avLst/>
          </a:prstGeom>
          <a:solidFill>
            <a:srgbClr val="FFFFFF">
              <a:alpha val="73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оевать нельзя жить мирно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Доклад </a:t>
            </a:r>
            <a:r>
              <a:rPr lang="ru-RU" dirty="0" err="1" smtClean="0"/>
              <a:t>Дубовицкой</a:t>
            </a:r>
            <a:r>
              <a:rPr lang="ru-RU" dirty="0" smtClean="0"/>
              <a:t> Л.В. </a:t>
            </a:r>
            <a:r>
              <a:rPr lang="de-DE" dirty="0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езультаты для бизнес-аналитик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50825" y="1077604"/>
            <a:ext cx="3909001" cy="47841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ксимальное снижение противостояния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 больше не враг!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учение максимально качественной информации - минимизация переделок 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коренение нововведений в корпоративной культуре организации – Вы работали не зря!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культуры поддержки изменений в организации – уважение к труду аналитика</a:t>
            </a: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smtClean="0">
              <a:latin typeface="+mj-lt"/>
            </a:endParaRPr>
          </a:p>
          <a:p>
            <a:pPr marL="174625" lvl="1" indent="-174625" algn="just">
              <a:spcAft>
                <a:spcPts val="300"/>
              </a:spcAft>
              <a:buClr>
                <a:schemeClr val="dk2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452533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Content Placeholder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038" y="1254176"/>
            <a:ext cx="1302961" cy="177006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390356" y="3422574"/>
            <a:ext cx="6873240" cy="1402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Любовь 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убовицка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.ф.н.,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ководитель группы оптимизации процессов консалтингового холдинга,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ействительный член Российского отделения международной ассоциации BPM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ов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ABPMP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4104" y="5081509"/>
            <a:ext cx="8527415" cy="894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тактная информаци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>
              <a:spcAft>
                <a:spcPts val="300"/>
              </a:spcAft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lubchen@list.ru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б. Тел.: 8 (916) 293-50-43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400" dirty="0" smtClean="0">
              <a:latin typeface="+mj-lt"/>
            </a:endParaRPr>
          </a:p>
          <a:p>
            <a:pPr>
              <a:spcAft>
                <a:spcPts val="300"/>
              </a:spcAft>
            </a:pPr>
            <a:endParaRPr lang="ru-RU" sz="1400" dirty="0" err="1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31952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2001" y="671180"/>
            <a:ext cx="8640694" cy="282819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рахи сотрудник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52001" y="1260000"/>
            <a:ext cx="3878040" cy="2313194"/>
          </a:xfrm>
        </p:spPr>
        <p:txBody>
          <a:bodyPr/>
          <a:lstStyle/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отери работы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увеличения нагрузки и количества задач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вмешательства руководства в деятельность сотрудника или подразделения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недостатка собственных знаний и компетенций для успешного освоения новых методов работы</a:t>
            </a: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chemeClr val="dk2"/>
              </a:buClr>
              <a:buSzPct val="100000"/>
            </a:pPr>
            <a:endParaRPr lang="en-US" dirty="0"/>
          </a:p>
          <a:p>
            <a:pPr lvl="1">
              <a:buClr>
                <a:schemeClr val="dk2"/>
              </a:buClr>
              <a:buSzPct val="100000"/>
              <a:buNone/>
            </a:pP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й боятся все!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1901" y="1504191"/>
            <a:ext cx="4479618" cy="4479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482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рахи руководителе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й боятся все!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2000" y="1260000"/>
            <a:ext cx="3067975" cy="40294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4BB"/>
              </a:buClr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4BB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54BB"/>
              </a:buClr>
              <a:buFont typeface="Arial" panose="020B0604020202020204" pitchFamily="34" charset="0"/>
              <a:buChar char="•"/>
              <a:tabLst>
                <a:tab pos="80962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отерять власть и статус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отерять работу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ход к новой форме властного воздействия (не сила, а знание)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еред критикой</a:t>
            </a:r>
          </a:p>
          <a:p>
            <a:pPr lvl="1" algn="just">
              <a:buClr>
                <a:schemeClr val="dk2"/>
              </a:buClr>
              <a:buSzPct val="100000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 перед неизвестностью</a:t>
            </a:r>
          </a:p>
          <a:p>
            <a:pPr lvl="1">
              <a:buClr>
                <a:schemeClr val="dk2"/>
              </a:buClr>
              <a:buSzPct val="100000"/>
              <a:buNone/>
            </a:pPr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4160" y="1358474"/>
            <a:ext cx="5388930" cy="303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67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рахи аналитиков??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й боятся все!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32" y="1071856"/>
            <a:ext cx="7371178" cy="4896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29006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чины сопротивления переменам</a:t>
            </a:r>
          </a:p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оклад Дубовицкой Л.В. </a:t>
            </a:r>
            <a:r>
              <a:rPr lang="de-DE" smtClean="0"/>
              <a:t>Analyst Days 2016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й боятся все!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978" y="1150187"/>
            <a:ext cx="7146388" cy="477813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031953" y="5562557"/>
            <a:ext cx="5078437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ПРОТИВ ТЕЧЕНИЯ?!</a:t>
            </a:r>
          </a:p>
        </p:txBody>
      </p:sp>
    </p:spTree>
    <p:extLst>
      <p:ext uri="{BB962C8B-B14F-4D97-AF65-F5344CB8AC3E}">
        <p14:creationId xmlns:p14="http://schemas.microsoft.com/office/powerpoint/2010/main" val="141004384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чины сопротивления перемена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й боятся все!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7920" y="1123002"/>
            <a:ext cx="4786503" cy="48135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58574" y="1533380"/>
            <a:ext cx="1802364" cy="942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противление на личностном уровн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8574" y="3123027"/>
            <a:ext cx="1802364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противление на уровне группы или организац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50825" y="5043270"/>
            <a:ext cx="1802364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ие причины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98387" y="1519628"/>
            <a:ext cx="1802364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итические причин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198387" y="2938941"/>
            <a:ext cx="1693132" cy="11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ультурологические причины</a:t>
            </a:r>
          </a:p>
        </p:txBody>
      </p:sp>
    </p:spTree>
    <p:extLst>
      <p:ext uri="{BB962C8B-B14F-4D97-AF65-F5344CB8AC3E}">
        <p14:creationId xmlns:p14="http://schemas.microsoft.com/office/powerpoint/2010/main" val="1147830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верху вниз и снизу вверх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правления изменений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7301561" y="1420837"/>
            <a:ext cx="701040" cy="2109230"/>
          </a:xfrm>
          <a:prstGeom prst="downArrow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470465746"/>
              </p:ext>
            </p:extLst>
          </p:nvPr>
        </p:nvGraphicFramePr>
        <p:xfrm>
          <a:off x="1437337" y="1618319"/>
          <a:ext cx="6315177" cy="39079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Down Arrow 9"/>
          <p:cNvSpPr/>
          <p:nvPr/>
        </p:nvSpPr>
        <p:spPr>
          <a:xfrm rot="10800000">
            <a:off x="486210" y="3258250"/>
            <a:ext cx="701040" cy="2225040"/>
          </a:xfrm>
          <a:prstGeom prst="downArrow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2793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менения навязываются «сверху вниз»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132" y="1349450"/>
            <a:ext cx="8723387" cy="413579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Дубовицкая Любовь, Практическое управление организационными изменениями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ривая принятия изменений сотрудникам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False"/>
  <p:tag name="MIO_SHOW_FOOTER" val="True"/>
  <p:tag name="MIO_SHOW_PAGENUMBER" val="True"/>
  <p:tag name="MIO_AVOID_BLANK_LAYOUT" val="True"/>
  <p:tag name="MIO_NUMBER_OF_VALID_LAYOUTS" val="6"/>
  <p:tag name="MIO_MST_COLOR_1" val="0,0,0,Dunkel 1"/>
  <p:tag name="MIO_MST_COLOR_2" val="255,255,255,Hell 1"/>
  <p:tag name="MIO_MST_COLOR_3" val="0,84,187,Dunkel 2"/>
  <p:tag name="MIO_MST_COLOR_4" val="231,77,48,Hell 2"/>
  <p:tag name="MIO_MST_COLOR_5" val="0,41,101,Akzent 1"/>
  <p:tag name="MIO_MST_COLOR_6" val="197,220,255,Akzent 2"/>
  <p:tag name="MIO_MST_COLOR_7" val="153,194,255,Akzent 3"/>
  <p:tag name="MIO_MST_COLOR_8" val="51,134,255,Akzent 4"/>
  <p:tag name="MIO_MST_COLOR_9" val="128,212,255,Akzent 5"/>
  <p:tag name="MIO_MST_COLOR_10" val="135,139,142,Akzent 6"/>
  <p:tag name="MIO_MST_COLOR_11" val="32,179,254,"/>
  <p:tag name="MIO_MST_COLOR_12" val="89,89,89,"/>
  <p:tag name="MIO_HDS" val="True"/>
  <p:tag name="MIO_EK" val="2181"/>
  <p:tag name="MIO_UPDATE" val="True"/>
  <p:tag name="MIO_VERSION" val="22.07.2015 16:07:42"/>
  <p:tag name="MIO_DBID" val="04C3A4F6-43CB-4C77-973D-7C328AA5EC17"/>
  <p:tag name="MIO_LASTDOWNLOADED" val="18.12.2015 16:14:16"/>
  <p:tag name="MIO_OBJECTNAME" val="Master blanko(nur in Ausnahmefällen zu verwenden!)"/>
  <p:tag name="MIO_LASTEDITORNAME" val="Yvonne Hei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3_Drees &amp; Sommer">
  <a:themeElements>
    <a:clrScheme name="Drees &amp; Sommer Colour">
      <a:dk1>
        <a:srgbClr val="000000"/>
      </a:dk1>
      <a:lt1>
        <a:srgbClr val="FFFFFF"/>
      </a:lt1>
      <a:dk2>
        <a:srgbClr val="0054BB"/>
      </a:dk2>
      <a:lt2>
        <a:srgbClr val="E74D30"/>
      </a:lt2>
      <a:accent1>
        <a:srgbClr val="002965"/>
      </a:accent1>
      <a:accent2>
        <a:srgbClr val="C5DCFF"/>
      </a:accent2>
      <a:accent3>
        <a:srgbClr val="99C2FF"/>
      </a:accent3>
      <a:accent4>
        <a:srgbClr val="3386FF"/>
      </a:accent4>
      <a:accent5>
        <a:srgbClr val="80D4FF"/>
      </a:accent5>
      <a:accent6>
        <a:srgbClr val="878B8E"/>
      </a:accent6>
      <a:hlink>
        <a:srgbClr val="20B3FE"/>
      </a:hlink>
      <a:folHlink>
        <a:srgbClr val="595959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965"/>
        </a:solidFill>
        <a:ln w="1270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Aft>
            <a:spcPts val="300"/>
          </a:spcAft>
          <a:defRPr sz="1400" dirty="0" err="1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test.potx" id="{C8D71C51-FF45-4B94-9667-58FE8C7900A9}" vid="{0815DAB6-BB5C-4463-9368-3670027B3D9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3</Words>
  <Application>Microsoft Office PowerPoint</Application>
  <PresentationFormat>On-screen Show (4:3)</PresentationFormat>
  <Paragraphs>184</Paragraphs>
  <Slides>2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Arial</vt:lpstr>
      <vt:lpstr>Calibri</vt:lpstr>
      <vt:lpstr>Symbol</vt:lpstr>
      <vt:lpstr>Wingdings</vt:lpstr>
      <vt:lpstr>3_Drees &amp; Sommer</vt:lpstr>
      <vt:lpstr>Бизнес-аналитик и управление организационными изменениями: обороняться или наступать?</vt:lpstr>
      <vt:lpstr>Что такое изменение? </vt:lpstr>
      <vt:lpstr>Изменений боятся все!</vt:lpstr>
      <vt:lpstr>Изменений боятся все!</vt:lpstr>
      <vt:lpstr>Изменений боятся все!</vt:lpstr>
      <vt:lpstr>Изменений боятся все!</vt:lpstr>
      <vt:lpstr>Изменений боятся все!</vt:lpstr>
      <vt:lpstr>Направления изменений</vt:lpstr>
      <vt:lpstr>Кривая принятия изменений сотрудниками</vt:lpstr>
      <vt:lpstr>Кривая принятия изменений:  менеджмент и сотрудники</vt:lpstr>
      <vt:lpstr>Кривая принятия новшеств</vt:lpstr>
      <vt:lpstr>Управление изменениями</vt:lpstr>
      <vt:lpstr>Ролевая модель</vt:lpstr>
      <vt:lpstr>Ролевая модель</vt:lpstr>
      <vt:lpstr>Ролевая модель</vt:lpstr>
      <vt:lpstr>Ролевая модель</vt:lpstr>
      <vt:lpstr>Ролевая модель</vt:lpstr>
      <vt:lpstr>Ролевая модель</vt:lpstr>
      <vt:lpstr>Модели зрелости организации  по управлению изменениями</vt:lpstr>
      <vt:lpstr>Модель управления изменениями Джона Коттера</vt:lpstr>
      <vt:lpstr>Методологии практического  управления изменениями</vt:lpstr>
      <vt:lpstr>PowerPoint Presentation</vt:lpstr>
      <vt:lpstr>Что делать?</vt:lpstr>
      <vt:lpstr>Шаг 1</vt:lpstr>
      <vt:lpstr>Шаг 2</vt:lpstr>
      <vt:lpstr>Результаты для бизнес-аналитика</vt:lpstr>
      <vt:lpstr>СПАСИБО ЗА ВНИМАНИЕ!</vt:lpstr>
    </vt:vector>
  </TitlesOfParts>
  <Company>Drees &amp; Somm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bov Dubovitskaya</dc:creator>
  <cp:lastModifiedBy>Dubovitskaya, Lubov</cp:lastModifiedBy>
  <cp:revision>48</cp:revision>
  <dcterms:created xsi:type="dcterms:W3CDTF">2015-07-22T14:07:42Z</dcterms:created>
  <dcterms:modified xsi:type="dcterms:W3CDTF">2015-12-28T07:13:58Z</dcterms:modified>
</cp:coreProperties>
</file>